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3846B2-44DD-4B5F-BD89-228F251BAD59}" v="51" dt="2024-09-06T08:34:47.9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40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Reddy, G Joshita SBOBNG-PTIY/TCBC" userId="dbfa17d8-2413-4ad6-90f7-111708d7b58c" providerId="ADAL" clId="{F98649DF-6EE2-4679-A2FB-7A98193123C2}"/>
    <pc:docChg chg="undo redo custSel modSld">
      <pc:chgData name="Reddy, G Joshita SBOBNG-PTIY/TCBC" userId="dbfa17d8-2413-4ad6-90f7-111708d7b58c" providerId="ADAL" clId="{F98649DF-6EE2-4679-A2FB-7A98193123C2}" dt="2024-08-30T12:49:10.670" v="1092" actId="12"/>
      <pc:docMkLst>
        <pc:docMk/>
      </pc:docMkLst>
      <pc:sldChg chg="modSp mod">
        <pc:chgData name="Reddy, G Joshita SBOBNG-PTIY/TCBC" userId="dbfa17d8-2413-4ad6-90f7-111708d7b58c" providerId="ADAL" clId="{F98649DF-6EE2-4679-A2FB-7A98193123C2}" dt="2024-08-30T04:47:43.064" v="26" actId="20577"/>
        <pc:sldMkLst>
          <pc:docMk/>
          <pc:sldMk cId="3267775274" sldId="256"/>
        </pc:sldMkLst>
        <pc:spChg chg="mod">
          <ac:chgData name="Reddy, G Joshita SBOBNG-PTIY/TCBC" userId="dbfa17d8-2413-4ad6-90f7-111708d7b58c" providerId="ADAL" clId="{F98649DF-6EE2-4679-A2FB-7A98193123C2}" dt="2024-08-30T04:47:33.475" v="3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Reddy, G Joshita SBOBNG-PTIY/TCBC" userId="dbfa17d8-2413-4ad6-90f7-111708d7b58c" providerId="ADAL" clId="{F98649DF-6EE2-4679-A2FB-7A98193123C2}" dt="2024-08-30T04:47:43.064" v="26" actId="20577"/>
          <ac:spMkLst>
            <pc:docMk/>
            <pc:sldMk cId="3267775274" sldId="256"/>
            <ac:spMk id="12" creationId="{8A24547F-8A92-CDC5-A578-3733390534F2}"/>
          </ac:spMkLst>
        </pc:spChg>
      </pc:sldChg>
      <pc:sldChg chg="addSp modSp mod">
        <pc:chgData name="Reddy, G Joshita SBOBNG-PTIY/TCBC" userId="dbfa17d8-2413-4ad6-90f7-111708d7b58c" providerId="ADAL" clId="{F98649DF-6EE2-4679-A2FB-7A98193123C2}" dt="2024-08-30T05:42:54.173" v="436" actId="14100"/>
        <pc:sldMkLst>
          <pc:docMk/>
          <pc:sldMk cId="867832184" sldId="2147375589"/>
        </pc:sldMkLst>
        <pc:spChg chg="mod">
          <ac:chgData name="Reddy, G Joshita SBOBNG-PTIY/TCBC" userId="dbfa17d8-2413-4ad6-90f7-111708d7b58c" providerId="ADAL" clId="{F98649DF-6EE2-4679-A2FB-7A98193123C2}" dt="2024-08-30T04:48:42.470" v="90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Reddy, G Joshita SBOBNG-PTIY/TCBC" userId="dbfa17d8-2413-4ad6-90f7-111708d7b58c" providerId="ADAL" clId="{F98649DF-6EE2-4679-A2FB-7A98193123C2}" dt="2024-08-30T04:49:43.139" v="148" actId="20577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Reddy, G Joshita SBOBNG-PTIY/TCBC" userId="dbfa17d8-2413-4ad6-90f7-111708d7b58c" providerId="ADAL" clId="{F98649DF-6EE2-4679-A2FB-7A98193123C2}" dt="2024-08-30T05:42:54.173" v="436" actId="14100"/>
          <ac:picMkLst>
            <pc:docMk/>
            <pc:sldMk cId="867832184" sldId="2147375589"/>
            <ac:picMk id="2" creationId="{51A1C6CE-63B9-8D2B-14E0-319581372556}"/>
          </ac:picMkLst>
        </pc:picChg>
        <pc:picChg chg="add mod">
          <ac:chgData name="Reddy, G Joshita SBOBNG-PTIY/TCBC" userId="dbfa17d8-2413-4ad6-90f7-111708d7b58c" providerId="ADAL" clId="{F98649DF-6EE2-4679-A2FB-7A98193123C2}" dt="2024-08-30T04:49:37.978" v="93" actId="14100"/>
          <ac:picMkLst>
            <pc:docMk/>
            <pc:sldMk cId="867832184" sldId="2147375589"/>
            <ac:picMk id="1026" creationId="{D56B02BE-E3A0-68C4-48B7-9105345EC353}"/>
          </ac:picMkLst>
        </pc:picChg>
        <pc:picChg chg="add">
          <ac:chgData name="Reddy, G Joshita SBOBNG-PTIY/TCBC" userId="dbfa17d8-2413-4ad6-90f7-111708d7b58c" providerId="ADAL" clId="{F98649DF-6EE2-4679-A2FB-7A98193123C2}" dt="2024-08-30T04:49:43.997" v="149"/>
          <ac:picMkLst>
            <pc:docMk/>
            <pc:sldMk cId="867832184" sldId="2147375589"/>
            <ac:picMk id="1028" creationId="{809BE5D3-D7AE-32D0-1CE2-10AEB5953309}"/>
          </ac:picMkLst>
        </pc:picChg>
      </pc:sldChg>
      <pc:sldChg chg="addSp modSp mod">
        <pc:chgData name="Reddy, G Joshita SBOBNG-PTIY/TCBC" userId="dbfa17d8-2413-4ad6-90f7-111708d7b58c" providerId="ADAL" clId="{F98649DF-6EE2-4679-A2FB-7A98193123C2}" dt="2024-08-30T05:43:35.011" v="497" actId="20577"/>
        <pc:sldMkLst>
          <pc:docMk/>
          <pc:sldMk cId="245881457" sldId="2147375597"/>
        </pc:sldMkLst>
        <pc:spChg chg="mod">
          <ac:chgData name="Reddy, G Joshita SBOBNG-PTIY/TCBC" userId="dbfa17d8-2413-4ad6-90f7-111708d7b58c" providerId="ADAL" clId="{F98649DF-6EE2-4679-A2FB-7A98193123C2}" dt="2024-08-30T05:43:35.011" v="497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Reddy, G Joshita SBOBNG-PTIY/TCBC" userId="dbfa17d8-2413-4ad6-90f7-111708d7b58c" providerId="ADAL" clId="{F98649DF-6EE2-4679-A2FB-7A98193123C2}" dt="2024-08-30T05:42:08.546" v="426" actId="1076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Reddy, G Joshita SBOBNG-PTIY/TCBC" userId="dbfa17d8-2413-4ad6-90f7-111708d7b58c" providerId="ADAL" clId="{F98649DF-6EE2-4679-A2FB-7A98193123C2}" dt="2024-08-30T05:42:43.115" v="434" actId="14100"/>
          <ac:picMkLst>
            <pc:docMk/>
            <pc:sldMk cId="245881457" sldId="2147375597"/>
            <ac:picMk id="2" creationId="{564D45DC-7AE0-D767-7612-9F2AF128C60E}"/>
          </ac:picMkLst>
        </pc:picChg>
        <pc:picChg chg="add mod">
          <ac:chgData name="Reddy, G Joshita SBOBNG-PTIY/TCBC" userId="dbfa17d8-2413-4ad6-90f7-111708d7b58c" providerId="ADAL" clId="{F98649DF-6EE2-4679-A2FB-7A98193123C2}" dt="2024-08-30T05:42:08.546" v="426" actId="1076"/>
          <ac:picMkLst>
            <pc:docMk/>
            <pc:sldMk cId="245881457" sldId="2147375597"/>
            <ac:picMk id="1026" creationId="{6AE25BD9-EC0F-1C22-E1A4-8A9EE0717F51}"/>
          </ac:picMkLst>
        </pc:picChg>
        <pc:picChg chg="add">
          <ac:chgData name="Reddy, G Joshita SBOBNG-PTIY/TCBC" userId="dbfa17d8-2413-4ad6-90f7-111708d7b58c" providerId="ADAL" clId="{F98649DF-6EE2-4679-A2FB-7A98193123C2}" dt="2024-08-30T05:42:11.299" v="427"/>
          <ac:picMkLst>
            <pc:docMk/>
            <pc:sldMk cId="245881457" sldId="2147375597"/>
            <ac:picMk id="1028" creationId="{88E5DB73-73AB-B8B2-5AAB-A1CB2970D910}"/>
          </ac:picMkLst>
        </pc:picChg>
      </pc:sldChg>
      <pc:sldChg chg="addSp modSp mod">
        <pc:chgData name="Reddy, G Joshita SBOBNG-PTIY/TCBC" userId="dbfa17d8-2413-4ad6-90f7-111708d7b58c" providerId="ADAL" clId="{F98649DF-6EE2-4679-A2FB-7A98193123C2}" dt="2024-08-30T09:51:28.047" v="1003" actId="1076"/>
        <pc:sldMkLst>
          <pc:docMk/>
          <pc:sldMk cId="1181112711" sldId="2147375600"/>
        </pc:sldMkLst>
        <pc:spChg chg="mod">
          <ac:chgData name="Reddy, G Joshita SBOBNG-PTIY/TCBC" userId="dbfa17d8-2413-4ad6-90f7-111708d7b58c" providerId="ADAL" clId="{F98649DF-6EE2-4679-A2FB-7A98193123C2}" dt="2024-08-30T09:50:17.015" v="996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Reddy, G Joshita SBOBNG-PTIY/TCBC" userId="dbfa17d8-2413-4ad6-90f7-111708d7b58c" providerId="ADAL" clId="{F98649DF-6EE2-4679-A2FB-7A98193123C2}" dt="2024-08-30T09:51:03.733" v="997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Reddy, G Joshita SBOBNG-PTIY/TCBC" userId="dbfa17d8-2413-4ad6-90f7-111708d7b58c" providerId="ADAL" clId="{F98649DF-6EE2-4679-A2FB-7A98193123C2}" dt="2024-08-30T09:51:28.047" v="1003" actId="1076"/>
          <ac:picMkLst>
            <pc:docMk/>
            <pc:sldMk cId="1181112711" sldId="2147375600"/>
            <ac:picMk id="2" creationId="{C999FA95-7B25-5066-D744-F8C03587D7E7}"/>
          </ac:picMkLst>
        </pc:picChg>
        <pc:picChg chg="add">
          <ac:chgData name="Reddy, G Joshita SBOBNG-PTIY/TCBC" userId="dbfa17d8-2413-4ad6-90f7-111708d7b58c" providerId="ADAL" clId="{F98649DF-6EE2-4679-A2FB-7A98193123C2}" dt="2024-08-30T09:51:05.849" v="998"/>
          <ac:picMkLst>
            <pc:docMk/>
            <pc:sldMk cId="1181112711" sldId="2147375600"/>
            <ac:picMk id="1026" creationId="{0196C905-E2AA-600A-E91F-B07591A35879}"/>
          </ac:picMkLst>
        </pc:picChg>
      </pc:sldChg>
      <pc:sldChg chg="modSp mod">
        <pc:chgData name="Reddy, G Joshita SBOBNG-PTIY/TCBC" userId="dbfa17d8-2413-4ad6-90f7-111708d7b58c" providerId="ADAL" clId="{F98649DF-6EE2-4679-A2FB-7A98193123C2}" dt="2024-08-30T09:58:47.913" v="1087" actId="20577"/>
        <pc:sldMkLst>
          <pc:docMk/>
          <pc:sldMk cId="3233747587" sldId="2147375601"/>
        </pc:sldMkLst>
        <pc:spChg chg="mod">
          <ac:chgData name="Reddy, G Joshita SBOBNG-PTIY/TCBC" userId="dbfa17d8-2413-4ad6-90f7-111708d7b58c" providerId="ADAL" clId="{F98649DF-6EE2-4679-A2FB-7A98193123C2}" dt="2024-08-30T09:58:47.913" v="1087" actId="20577"/>
          <ac:spMkLst>
            <pc:docMk/>
            <pc:sldMk cId="3233747587" sldId="2147375601"/>
            <ac:spMk id="11" creationId="{DE9F1BE0-7910-FA1B-DCE8-56EFD1E4FC09}"/>
          </ac:spMkLst>
        </pc:spChg>
      </pc:sldChg>
      <pc:sldChg chg="modSp mod">
        <pc:chgData name="Reddy, G Joshita SBOBNG-PTIY/TCBC" userId="dbfa17d8-2413-4ad6-90f7-111708d7b58c" providerId="ADAL" clId="{F98649DF-6EE2-4679-A2FB-7A98193123C2}" dt="2024-08-30T12:49:10.670" v="1092" actId="12"/>
        <pc:sldMkLst>
          <pc:docMk/>
          <pc:sldMk cId="1148838763" sldId="2147375613"/>
        </pc:sldMkLst>
        <pc:spChg chg="mod">
          <ac:chgData name="Reddy, G Joshita SBOBNG-PTIY/TCBC" userId="dbfa17d8-2413-4ad6-90f7-111708d7b58c" providerId="ADAL" clId="{F98649DF-6EE2-4679-A2FB-7A98193123C2}" dt="2024-08-30T12:49:10.670" v="1092" actId="12"/>
          <ac:spMkLst>
            <pc:docMk/>
            <pc:sldMk cId="1148838763" sldId="2147375613"/>
            <ac:spMk id="11" creationId="{8CC1343B-2E39-FEFF-8FF6-46822F18B432}"/>
          </ac:spMkLst>
        </pc:spChg>
      </pc:sldChg>
    </pc:docChg>
  </pc:docChgLst>
  <pc:docChgLst>
    <pc:chgData name="Reddy, G Joshita SBOBNG-PTIY/TCBC" userId="dbfa17d8-2413-4ad6-90f7-111708d7b58c" providerId="ADAL" clId="{563846B2-44DD-4B5F-BD89-228F251BAD59}"/>
    <pc:docChg chg="undo redo custSel modSld">
      <pc:chgData name="Reddy, G Joshita SBOBNG-PTIY/TCBC" userId="dbfa17d8-2413-4ad6-90f7-111708d7b58c" providerId="ADAL" clId="{563846B2-44DD-4B5F-BD89-228F251BAD59}" dt="2024-09-06T08:34:47.978" v="4633" actId="14100"/>
      <pc:docMkLst>
        <pc:docMk/>
      </pc:docMkLst>
      <pc:sldChg chg="modSp mod">
        <pc:chgData name="Reddy, G Joshita SBOBNG-PTIY/TCBC" userId="dbfa17d8-2413-4ad6-90f7-111708d7b58c" providerId="ADAL" clId="{563846B2-44DD-4B5F-BD89-228F251BAD59}" dt="2024-09-04T06:26:13.918" v="13" actId="20577"/>
        <pc:sldMkLst>
          <pc:docMk/>
          <pc:sldMk cId="3267775274" sldId="256"/>
        </pc:sldMkLst>
        <pc:spChg chg="mod">
          <ac:chgData name="Reddy, G Joshita SBOBNG-PTIY/TCBC" userId="dbfa17d8-2413-4ad6-90f7-111708d7b58c" providerId="ADAL" clId="{563846B2-44DD-4B5F-BD89-228F251BAD59}" dt="2024-09-04T06:25:59.295" v="1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Reddy, G Joshita SBOBNG-PTIY/TCBC" userId="dbfa17d8-2413-4ad6-90f7-111708d7b58c" providerId="ADAL" clId="{563846B2-44DD-4B5F-BD89-228F251BAD59}" dt="2024-09-04T06:26:13.918" v="13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Reddy, G Joshita SBOBNG-PTIY/TCBC" userId="dbfa17d8-2413-4ad6-90f7-111708d7b58c" providerId="ADAL" clId="{563846B2-44DD-4B5F-BD89-228F251BAD59}" dt="2024-09-04T08:49:42.465" v="588" actId="1076"/>
        <pc:sldMkLst>
          <pc:docMk/>
          <pc:sldMk cId="245881457" sldId="2147375597"/>
        </pc:sldMkLst>
        <pc:spChg chg="mod">
          <ac:chgData name="Reddy, G Joshita SBOBNG-PTIY/TCBC" userId="dbfa17d8-2413-4ad6-90f7-111708d7b58c" providerId="ADAL" clId="{563846B2-44DD-4B5F-BD89-228F251BAD59}" dt="2024-09-04T08:49:20.168" v="581" actId="1076"/>
          <ac:spMkLst>
            <pc:docMk/>
            <pc:sldMk cId="245881457" sldId="2147375597"/>
            <ac:spMk id="11" creationId="{DE9F1BE0-7910-FA1B-DCE8-56EFD1E4FC09}"/>
          </ac:spMkLst>
        </pc:spChg>
        <pc:picChg chg="del">
          <ac:chgData name="Reddy, G Joshita SBOBNG-PTIY/TCBC" userId="dbfa17d8-2413-4ad6-90f7-111708d7b58c" providerId="ADAL" clId="{563846B2-44DD-4B5F-BD89-228F251BAD59}" dt="2024-09-04T06:26:21.678" v="14" actId="478"/>
          <ac:picMkLst>
            <pc:docMk/>
            <pc:sldMk cId="245881457" sldId="2147375597"/>
            <ac:picMk id="2" creationId="{564D45DC-7AE0-D767-7612-9F2AF128C60E}"/>
          </ac:picMkLst>
        </pc:picChg>
        <pc:picChg chg="add mod">
          <ac:chgData name="Reddy, G Joshita SBOBNG-PTIY/TCBC" userId="dbfa17d8-2413-4ad6-90f7-111708d7b58c" providerId="ADAL" clId="{563846B2-44DD-4B5F-BD89-228F251BAD59}" dt="2024-09-04T08:49:42.465" v="588" actId="1076"/>
          <ac:picMkLst>
            <pc:docMk/>
            <pc:sldMk cId="245881457" sldId="2147375597"/>
            <ac:picMk id="2" creationId="{9E317E29-7BE7-7CFF-F85F-8E22794E2DCA}"/>
          </ac:picMkLst>
        </pc:picChg>
        <pc:picChg chg="add mod">
          <ac:chgData name="Reddy, G Joshita SBOBNG-PTIY/TCBC" userId="dbfa17d8-2413-4ad6-90f7-111708d7b58c" providerId="ADAL" clId="{563846B2-44DD-4B5F-BD89-228F251BAD59}" dt="2024-09-04T08:49:20.168" v="581" actId="1076"/>
          <ac:picMkLst>
            <pc:docMk/>
            <pc:sldMk cId="245881457" sldId="2147375597"/>
            <ac:picMk id="1026" creationId="{0BE0ADE1-DAF8-3B2F-D0F7-8CFE93738F0F}"/>
          </ac:picMkLst>
        </pc:picChg>
        <pc:picChg chg="add">
          <ac:chgData name="Reddy, G Joshita SBOBNG-PTIY/TCBC" userId="dbfa17d8-2413-4ad6-90f7-111708d7b58c" providerId="ADAL" clId="{563846B2-44DD-4B5F-BD89-228F251BAD59}" dt="2024-09-04T08:49:21.895" v="582"/>
          <ac:picMkLst>
            <pc:docMk/>
            <pc:sldMk cId="245881457" sldId="2147375597"/>
            <ac:picMk id="1028" creationId="{1E937C95-8753-1DD6-116D-486F13D7CF7F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4T08:54:39.857" v="1060" actId="1076"/>
        <pc:sldMkLst>
          <pc:docMk/>
          <pc:sldMk cId="1181112711" sldId="2147375600"/>
        </pc:sldMkLst>
        <pc:spChg chg="mod">
          <ac:chgData name="Reddy, G Joshita SBOBNG-PTIY/TCBC" userId="dbfa17d8-2413-4ad6-90f7-111708d7b58c" providerId="ADAL" clId="{563846B2-44DD-4B5F-BD89-228F251BAD59}" dt="2024-09-04T08:53:51.615" v="1052" actId="20577"/>
          <ac:spMkLst>
            <pc:docMk/>
            <pc:sldMk cId="1181112711" sldId="2147375600"/>
            <ac:spMk id="11" creationId="{DE9F1BE0-7910-FA1B-DCE8-56EFD1E4FC09}"/>
          </ac:spMkLst>
        </pc:spChg>
        <pc:picChg chg="add mod">
          <ac:chgData name="Reddy, G Joshita SBOBNG-PTIY/TCBC" userId="dbfa17d8-2413-4ad6-90f7-111708d7b58c" providerId="ADAL" clId="{563846B2-44DD-4B5F-BD89-228F251BAD59}" dt="2024-09-04T08:54:39.857" v="1060" actId="1076"/>
          <ac:picMkLst>
            <pc:docMk/>
            <pc:sldMk cId="1181112711" sldId="2147375600"/>
            <ac:picMk id="2" creationId="{03D67C7B-ECB9-0D93-C7EF-D68396572134}"/>
          </ac:picMkLst>
        </pc:picChg>
        <pc:picChg chg="del">
          <ac:chgData name="Reddy, G Joshita SBOBNG-PTIY/TCBC" userId="dbfa17d8-2413-4ad6-90f7-111708d7b58c" providerId="ADAL" clId="{563846B2-44DD-4B5F-BD89-228F251BAD59}" dt="2024-09-04T06:26:24.446" v="15" actId="478"/>
          <ac:picMkLst>
            <pc:docMk/>
            <pc:sldMk cId="1181112711" sldId="2147375600"/>
            <ac:picMk id="2" creationId="{C999FA95-7B25-5066-D744-F8C03587D7E7}"/>
          </ac:picMkLst>
        </pc:picChg>
        <pc:picChg chg="add">
          <ac:chgData name="Reddy, G Joshita SBOBNG-PTIY/TCBC" userId="dbfa17d8-2413-4ad6-90f7-111708d7b58c" providerId="ADAL" clId="{563846B2-44DD-4B5F-BD89-228F251BAD59}" dt="2024-09-04T08:54:16.725" v="1053"/>
          <ac:picMkLst>
            <pc:docMk/>
            <pc:sldMk cId="1181112711" sldId="2147375600"/>
            <ac:picMk id="2050" creationId="{45502623-ACD0-3819-ACF9-B7D6BCBAA6BA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4T09:01:50.641" v="1543" actId="1076"/>
        <pc:sldMkLst>
          <pc:docMk/>
          <pc:sldMk cId="3233747587" sldId="2147375601"/>
        </pc:sldMkLst>
        <pc:spChg chg="mod">
          <ac:chgData name="Reddy, G Joshita SBOBNG-PTIY/TCBC" userId="dbfa17d8-2413-4ad6-90f7-111708d7b58c" providerId="ADAL" clId="{563846B2-44DD-4B5F-BD89-228F251BAD59}" dt="2024-09-04T08:59:34.404" v="1525" actId="20577"/>
          <ac:spMkLst>
            <pc:docMk/>
            <pc:sldMk cId="3233747587" sldId="2147375601"/>
            <ac:spMk id="11" creationId="{DE9F1BE0-7910-FA1B-DCE8-56EFD1E4FC09}"/>
          </ac:spMkLst>
        </pc:spChg>
        <pc:spChg chg="mod">
          <ac:chgData name="Reddy, G Joshita SBOBNG-PTIY/TCBC" userId="dbfa17d8-2413-4ad6-90f7-111708d7b58c" providerId="ADAL" clId="{563846B2-44DD-4B5F-BD89-228F251BAD59}" dt="2024-09-04T09:01:45.906" v="1542" actId="20577"/>
          <ac:spMkLst>
            <pc:docMk/>
            <pc:sldMk cId="3233747587" sldId="2147375601"/>
            <ac:spMk id="12" creationId="{E53E5C3F-4D2B-B85F-E592-E58E032C664C}"/>
          </ac:spMkLst>
        </pc:spChg>
        <pc:picChg chg="add mod modCrop">
          <ac:chgData name="Reddy, G Joshita SBOBNG-PTIY/TCBC" userId="dbfa17d8-2413-4ad6-90f7-111708d7b58c" providerId="ADAL" clId="{563846B2-44DD-4B5F-BD89-228F251BAD59}" dt="2024-09-04T09:01:50.641" v="1543" actId="1076"/>
          <ac:picMkLst>
            <pc:docMk/>
            <pc:sldMk cId="3233747587" sldId="2147375601"/>
            <ac:picMk id="2" creationId="{3C074F7A-DCD9-9DD7-CB24-ED0BA8D64BBF}"/>
          </ac:picMkLst>
        </pc:picChg>
        <pc:picChg chg="del">
          <ac:chgData name="Reddy, G Joshita SBOBNG-PTIY/TCBC" userId="dbfa17d8-2413-4ad6-90f7-111708d7b58c" providerId="ADAL" clId="{563846B2-44DD-4B5F-BD89-228F251BAD59}" dt="2024-09-04T06:26:28.240" v="16" actId="478"/>
          <ac:picMkLst>
            <pc:docMk/>
            <pc:sldMk cId="3233747587" sldId="2147375601"/>
            <ac:picMk id="2" creationId="{4359326C-59EC-F6EA-A09B-9D308E08970F}"/>
          </ac:picMkLst>
        </pc:picChg>
        <pc:picChg chg="add">
          <ac:chgData name="Reddy, G Joshita SBOBNG-PTIY/TCBC" userId="dbfa17d8-2413-4ad6-90f7-111708d7b58c" providerId="ADAL" clId="{563846B2-44DD-4B5F-BD89-228F251BAD59}" dt="2024-09-04T09:00:11.821" v="1526"/>
          <ac:picMkLst>
            <pc:docMk/>
            <pc:sldMk cId="3233747587" sldId="2147375601"/>
            <ac:picMk id="3074" creationId="{582433BA-A2C2-B513-4EC6-A56D7DC847E3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5T08:15:25.032" v="2964" actId="1076"/>
        <pc:sldMkLst>
          <pc:docMk/>
          <pc:sldMk cId="3971512377" sldId="2147375603"/>
        </pc:sldMkLst>
        <pc:spChg chg="add">
          <ac:chgData name="Reddy, G Joshita SBOBNG-PTIY/TCBC" userId="dbfa17d8-2413-4ad6-90f7-111708d7b58c" providerId="ADAL" clId="{563846B2-44DD-4B5F-BD89-228F251BAD59}" dt="2024-09-05T08:15:09.427" v="2959"/>
          <ac:spMkLst>
            <pc:docMk/>
            <pc:sldMk cId="3971512377" sldId="2147375603"/>
            <ac:spMk id="2" creationId="{68B3266B-8F53-00F3-1F2F-6CC8F4F8B128}"/>
          </ac:spMkLst>
        </pc:spChg>
        <pc:spChg chg="mod">
          <ac:chgData name="Reddy, G Joshita SBOBNG-PTIY/TCBC" userId="dbfa17d8-2413-4ad6-90f7-111708d7b58c" providerId="ADAL" clId="{563846B2-44DD-4B5F-BD89-228F251BAD59}" dt="2024-09-05T08:12:20.144" v="2955" actId="20577"/>
          <ac:spMkLst>
            <pc:docMk/>
            <pc:sldMk cId="3971512377" sldId="2147375603"/>
            <ac:spMk id="11" creationId="{DE9F1BE0-7910-FA1B-DCE8-56EFD1E4FC09}"/>
          </ac:spMkLst>
        </pc:spChg>
        <pc:picChg chg="del">
          <ac:chgData name="Reddy, G Joshita SBOBNG-PTIY/TCBC" userId="dbfa17d8-2413-4ad6-90f7-111708d7b58c" providerId="ADAL" clId="{563846B2-44DD-4B5F-BD89-228F251BAD59}" dt="2024-09-04T06:26:33.817" v="17" actId="478"/>
          <ac:picMkLst>
            <pc:docMk/>
            <pc:sldMk cId="3971512377" sldId="2147375603"/>
            <ac:picMk id="2" creationId="{9878D216-C466-7B42-4A27-AFFCD0FC71FC}"/>
          </ac:picMkLst>
        </pc:picChg>
        <pc:picChg chg="add mod">
          <ac:chgData name="Reddy, G Joshita SBOBNG-PTIY/TCBC" userId="dbfa17d8-2413-4ad6-90f7-111708d7b58c" providerId="ADAL" clId="{563846B2-44DD-4B5F-BD89-228F251BAD59}" dt="2024-09-05T08:15:25.032" v="2964" actId="1076"/>
          <ac:picMkLst>
            <pc:docMk/>
            <pc:sldMk cId="3971512377" sldId="2147375603"/>
            <ac:picMk id="6" creationId="{221BEB53-CABE-3734-7753-F7036B5CAAF2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5T08:16:11.577" v="2968" actId="1076"/>
        <pc:sldMkLst>
          <pc:docMk/>
          <pc:sldMk cId="3179805674" sldId="2147375604"/>
        </pc:sldMkLst>
        <pc:spChg chg="mod">
          <ac:chgData name="Reddy, G Joshita SBOBNG-PTIY/TCBC" userId="dbfa17d8-2413-4ad6-90f7-111708d7b58c" providerId="ADAL" clId="{563846B2-44DD-4B5F-BD89-228F251BAD59}" dt="2024-09-05T08:12:27.434" v="2958" actId="20577"/>
          <ac:spMkLst>
            <pc:docMk/>
            <pc:sldMk cId="3179805674" sldId="2147375604"/>
            <ac:spMk id="11" creationId="{DE9F1BE0-7910-FA1B-DCE8-56EFD1E4FC09}"/>
          </ac:spMkLst>
        </pc:spChg>
        <pc:spChg chg="add del">
          <ac:chgData name="Reddy, G Joshita SBOBNG-PTIY/TCBC" userId="dbfa17d8-2413-4ad6-90f7-111708d7b58c" providerId="ADAL" clId="{563846B2-44DD-4B5F-BD89-228F251BAD59}" dt="2024-09-04T06:26:38.666" v="19" actId="478"/>
          <ac:spMkLst>
            <pc:docMk/>
            <pc:sldMk cId="3179805674" sldId="2147375604"/>
            <ac:spMk id="12" creationId="{E53E5C3F-4D2B-B85F-E592-E58E032C664C}"/>
          </ac:spMkLst>
        </pc:spChg>
        <pc:picChg chg="del">
          <ac:chgData name="Reddy, G Joshita SBOBNG-PTIY/TCBC" userId="dbfa17d8-2413-4ad6-90f7-111708d7b58c" providerId="ADAL" clId="{563846B2-44DD-4B5F-BD89-228F251BAD59}" dt="2024-09-04T06:26:39.779" v="20" actId="478"/>
          <ac:picMkLst>
            <pc:docMk/>
            <pc:sldMk cId="3179805674" sldId="2147375604"/>
            <ac:picMk id="2" creationId="{B1E77F79-BCEC-F0A5-842A-6148393D28B0}"/>
          </ac:picMkLst>
        </pc:picChg>
        <pc:picChg chg="add mod">
          <ac:chgData name="Reddy, G Joshita SBOBNG-PTIY/TCBC" userId="dbfa17d8-2413-4ad6-90f7-111708d7b58c" providerId="ADAL" clId="{563846B2-44DD-4B5F-BD89-228F251BAD59}" dt="2024-09-05T08:16:11.577" v="2968" actId="1076"/>
          <ac:picMkLst>
            <pc:docMk/>
            <pc:sldMk cId="3179805674" sldId="2147375604"/>
            <ac:picMk id="2050" creationId="{A5F04EF6-2AC6-8947-7FEF-AE01FD24B13E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5T08:17:41.706" v="2975" actId="1076"/>
        <pc:sldMkLst>
          <pc:docMk/>
          <pc:sldMk cId="86366928" sldId="2147375605"/>
        </pc:sldMkLst>
        <pc:spChg chg="mod">
          <ac:chgData name="Reddy, G Joshita SBOBNG-PTIY/TCBC" userId="dbfa17d8-2413-4ad6-90f7-111708d7b58c" providerId="ADAL" clId="{563846B2-44DD-4B5F-BD89-228F251BAD59}" dt="2024-09-05T08:08:02.179" v="2607" actId="20577"/>
          <ac:spMkLst>
            <pc:docMk/>
            <pc:sldMk cId="86366928" sldId="2147375605"/>
            <ac:spMk id="11" creationId="{DE9F1BE0-7910-FA1B-DCE8-56EFD1E4FC09}"/>
          </ac:spMkLst>
        </pc:spChg>
        <pc:picChg chg="del">
          <ac:chgData name="Reddy, G Joshita SBOBNG-PTIY/TCBC" userId="dbfa17d8-2413-4ad6-90f7-111708d7b58c" providerId="ADAL" clId="{563846B2-44DD-4B5F-BD89-228F251BAD59}" dt="2024-09-04T06:26:43.054" v="21" actId="478"/>
          <ac:picMkLst>
            <pc:docMk/>
            <pc:sldMk cId="86366928" sldId="2147375605"/>
            <ac:picMk id="2" creationId="{30CE10EF-5274-CA16-C1F1-46EF8E455BB2}"/>
          </ac:picMkLst>
        </pc:picChg>
        <pc:picChg chg="add mod modCrop">
          <ac:chgData name="Reddy, G Joshita SBOBNG-PTIY/TCBC" userId="dbfa17d8-2413-4ad6-90f7-111708d7b58c" providerId="ADAL" clId="{563846B2-44DD-4B5F-BD89-228F251BAD59}" dt="2024-09-05T08:17:41.706" v="2975" actId="1076"/>
          <ac:picMkLst>
            <pc:docMk/>
            <pc:sldMk cId="86366928" sldId="2147375605"/>
            <ac:picMk id="2" creationId="{48BC4140-E72C-47BD-B8DC-1ACFCE96E901}"/>
          </ac:picMkLst>
        </pc:picChg>
        <pc:picChg chg="add">
          <ac:chgData name="Reddy, G Joshita SBOBNG-PTIY/TCBC" userId="dbfa17d8-2413-4ad6-90f7-111708d7b58c" providerId="ADAL" clId="{563846B2-44DD-4B5F-BD89-228F251BAD59}" dt="2024-09-05T08:17:15.942" v="2969"/>
          <ac:picMkLst>
            <pc:docMk/>
            <pc:sldMk cId="86366928" sldId="2147375605"/>
            <ac:picMk id="3074" creationId="{70A2FD87-D690-5B70-D062-1530F6B6AF29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6T08:32:19.785" v="4629" actId="14100"/>
        <pc:sldMkLst>
          <pc:docMk/>
          <pc:sldMk cId="2340944189" sldId="2147375607"/>
        </pc:sldMkLst>
        <pc:spChg chg="mod">
          <ac:chgData name="Reddy, G Joshita SBOBNG-PTIY/TCBC" userId="dbfa17d8-2413-4ad6-90f7-111708d7b58c" providerId="ADAL" clId="{563846B2-44DD-4B5F-BD89-228F251BAD59}" dt="2024-09-05T10:45:40.457" v="4615" actId="20577"/>
          <ac:spMkLst>
            <pc:docMk/>
            <pc:sldMk cId="2340944189" sldId="2147375607"/>
            <ac:spMk id="11" creationId="{DE9F1BE0-7910-FA1B-DCE8-56EFD1E4FC09}"/>
          </ac:spMkLst>
        </pc:spChg>
        <pc:picChg chg="add mod">
          <ac:chgData name="Reddy, G Joshita SBOBNG-PTIY/TCBC" userId="dbfa17d8-2413-4ad6-90f7-111708d7b58c" providerId="ADAL" clId="{563846B2-44DD-4B5F-BD89-228F251BAD59}" dt="2024-09-06T08:32:19.785" v="4629" actId="14100"/>
          <ac:picMkLst>
            <pc:docMk/>
            <pc:sldMk cId="2340944189" sldId="2147375607"/>
            <ac:picMk id="5" creationId="{5755E2E0-A476-AEC3-9E9D-2C2388F20DA2}"/>
          </ac:picMkLst>
        </pc:picChg>
        <pc:picChg chg="del">
          <ac:chgData name="Reddy, G Joshita SBOBNG-PTIY/TCBC" userId="dbfa17d8-2413-4ad6-90f7-111708d7b58c" providerId="ADAL" clId="{563846B2-44DD-4B5F-BD89-228F251BAD59}" dt="2024-09-04T06:26:46.569" v="22" actId="478"/>
          <ac:picMkLst>
            <pc:docMk/>
            <pc:sldMk cId="2340944189" sldId="2147375607"/>
            <ac:picMk id="5" creationId="{F1B7A437-7F70-2F46-558A-14A71F29B8A0}"/>
          </ac:picMkLst>
        </pc:picChg>
        <pc:picChg chg="add">
          <ac:chgData name="Reddy, G Joshita SBOBNG-PTIY/TCBC" userId="dbfa17d8-2413-4ad6-90f7-111708d7b58c" providerId="ADAL" clId="{563846B2-44DD-4B5F-BD89-228F251BAD59}" dt="2024-09-06T08:32:04.497" v="4623"/>
          <ac:picMkLst>
            <pc:docMk/>
            <pc:sldMk cId="2340944189" sldId="2147375607"/>
            <ac:picMk id="1026" creationId="{069032F3-8BEE-7B37-D366-D696A2B59B55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6T08:34:47.978" v="4633" actId="14100"/>
        <pc:sldMkLst>
          <pc:docMk/>
          <pc:sldMk cId="3159148252" sldId="2147375608"/>
        </pc:sldMkLst>
        <pc:spChg chg="mod">
          <ac:chgData name="Reddy, G Joshita SBOBNG-PTIY/TCBC" userId="dbfa17d8-2413-4ad6-90f7-111708d7b58c" providerId="ADAL" clId="{563846B2-44DD-4B5F-BD89-228F251BAD59}" dt="2024-09-05T10:36:00.755" v="4222" actId="20577"/>
          <ac:spMkLst>
            <pc:docMk/>
            <pc:sldMk cId="3159148252" sldId="2147375608"/>
            <ac:spMk id="11" creationId="{DE9F1BE0-7910-FA1B-DCE8-56EFD1E4FC09}"/>
          </ac:spMkLst>
        </pc:spChg>
        <pc:picChg chg="del">
          <ac:chgData name="Reddy, G Joshita SBOBNG-PTIY/TCBC" userId="dbfa17d8-2413-4ad6-90f7-111708d7b58c" providerId="ADAL" clId="{563846B2-44DD-4B5F-BD89-228F251BAD59}" dt="2024-09-04T06:26:50.444" v="23" actId="478"/>
          <ac:picMkLst>
            <pc:docMk/>
            <pc:sldMk cId="3159148252" sldId="2147375608"/>
            <ac:picMk id="5" creationId="{4B43FB06-19B4-12ED-2440-B4D1A2CF69F2}"/>
          </ac:picMkLst>
        </pc:picChg>
        <pc:picChg chg="add mod">
          <ac:chgData name="Reddy, G Joshita SBOBNG-PTIY/TCBC" userId="dbfa17d8-2413-4ad6-90f7-111708d7b58c" providerId="ADAL" clId="{563846B2-44DD-4B5F-BD89-228F251BAD59}" dt="2024-09-06T08:34:47.978" v="4633" actId="14100"/>
          <ac:picMkLst>
            <pc:docMk/>
            <pc:sldMk cId="3159148252" sldId="2147375608"/>
            <ac:picMk id="2050" creationId="{008D9C66-5D4E-9EDF-BC0C-1EF6790149C0}"/>
          </ac:picMkLst>
        </pc:picChg>
      </pc:sldChg>
      <pc:sldChg chg="addSp delSp modSp mod">
        <pc:chgData name="Reddy, G Joshita SBOBNG-PTIY/TCBC" userId="dbfa17d8-2413-4ad6-90f7-111708d7b58c" providerId="ADAL" clId="{563846B2-44DD-4B5F-BD89-228F251BAD59}" dt="2024-09-05T10:46:47.266" v="4622" actId="1076"/>
        <pc:sldMkLst>
          <pc:docMk/>
          <pc:sldMk cId="3070204084" sldId="2147375609"/>
        </pc:sldMkLst>
        <pc:spChg chg="mod">
          <ac:chgData name="Reddy, G Joshita SBOBNG-PTIY/TCBC" userId="dbfa17d8-2413-4ad6-90f7-111708d7b58c" providerId="ADAL" clId="{563846B2-44DD-4B5F-BD89-228F251BAD59}" dt="2024-09-05T10:37:06.519" v="4362" actId="20577"/>
          <ac:spMkLst>
            <pc:docMk/>
            <pc:sldMk cId="3070204084" sldId="2147375609"/>
            <ac:spMk id="11" creationId="{DE9F1BE0-7910-FA1B-DCE8-56EFD1E4FC09}"/>
          </ac:spMkLst>
        </pc:spChg>
        <pc:picChg chg="add mod">
          <ac:chgData name="Reddy, G Joshita SBOBNG-PTIY/TCBC" userId="dbfa17d8-2413-4ad6-90f7-111708d7b58c" providerId="ADAL" clId="{563846B2-44DD-4B5F-BD89-228F251BAD59}" dt="2024-09-05T10:46:47.266" v="4622" actId="1076"/>
          <ac:picMkLst>
            <pc:docMk/>
            <pc:sldMk cId="3070204084" sldId="2147375609"/>
            <ac:picMk id="5" creationId="{1090528C-2EFD-3DD8-D30E-A201FB5CC778}"/>
          </ac:picMkLst>
        </pc:picChg>
        <pc:picChg chg="del">
          <ac:chgData name="Reddy, G Joshita SBOBNG-PTIY/TCBC" userId="dbfa17d8-2413-4ad6-90f7-111708d7b58c" providerId="ADAL" clId="{563846B2-44DD-4B5F-BD89-228F251BAD59}" dt="2024-09-04T06:26:53.903" v="24" actId="478"/>
          <ac:picMkLst>
            <pc:docMk/>
            <pc:sldMk cId="3070204084" sldId="2147375609"/>
            <ac:picMk id="5" creationId="{1B775370-597C-FFA7-B2D5-88E88601BE8A}"/>
          </ac:picMkLst>
        </pc:picChg>
        <pc:picChg chg="add">
          <ac:chgData name="Reddy, G Joshita SBOBNG-PTIY/TCBC" userId="dbfa17d8-2413-4ad6-90f7-111708d7b58c" providerId="ADAL" clId="{563846B2-44DD-4B5F-BD89-228F251BAD59}" dt="2024-09-05T10:46:30.394" v="4616"/>
          <ac:picMkLst>
            <pc:docMk/>
            <pc:sldMk cId="3070204084" sldId="2147375609"/>
            <ac:picMk id="1026" creationId="{5544610D-0CAA-7523-25A5-7531B78B6947}"/>
          </ac:picMkLst>
        </pc:picChg>
      </pc:sldChg>
      <pc:sldChg chg="modSp mod">
        <pc:chgData name="Reddy, G Joshita SBOBNG-PTIY/TCBC" userId="dbfa17d8-2413-4ad6-90f7-111708d7b58c" providerId="ADAL" clId="{563846B2-44DD-4B5F-BD89-228F251BAD59}" dt="2024-09-05T08:19:53.062" v="3223" actId="20577"/>
        <pc:sldMkLst>
          <pc:docMk/>
          <pc:sldMk cId="3754613224" sldId="2147375611"/>
        </pc:sldMkLst>
        <pc:spChg chg="mod">
          <ac:chgData name="Reddy, G Joshita SBOBNG-PTIY/TCBC" userId="dbfa17d8-2413-4ad6-90f7-111708d7b58c" providerId="ADAL" clId="{563846B2-44DD-4B5F-BD89-228F251BAD59}" dt="2024-09-05T08:18:13.272" v="3016" actId="20577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Reddy, G Joshita SBOBNG-PTIY/TCBC" userId="dbfa17d8-2413-4ad6-90f7-111708d7b58c" providerId="ADAL" clId="{563846B2-44DD-4B5F-BD89-228F251BAD59}" dt="2024-09-05T08:18:57.119" v="3093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Reddy, G Joshita SBOBNG-PTIY/TCBC" userId="dbfa17d8-2413-4ad6-90f7-111708d7b58c" providerId="ADAL" clId="{563846B2-44DD-4B5F-BD89-228F251BAD59}" dt="2024-09-05T08:19:53.062" v="3223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addSp delSp modSp mod">
        <pc:chgData name="Reddy, G Joshita SBOBNG-PTIY/TCBC" userId="dbfa17d8-2413-4ad6-90f7-111708d7b58c" providerId="ADAL" clId="{563846B2-44DD-4B5F-BD89-228F251BAD59}" dt="2024-09-05T08:57:04.742" v="3824" actId="1076"/>
        <pc:sldMkLst>
          <pc:docMk/>
          <pc:sldMk cId="1148838763" sldId="2147375613"/>
        </pc:sldMkLst>
        <pc:spChg chg="mod">
          <ac:chgData name="Reddy, G Joshita SBOBNG-PTIY/TCBC" userId="dbfa17d8-2413-4ad6-90f7-111708d7b58c" providerId="ADAL" clId="{563846B2-44DD-4B5F-BD89-228F251BAD59}" dt="2024-09-05T08:21:33.520" v="3458" actId="20577"/>
          <ac:spMkLst>
            <pc:docMk/>
            <pc:sldMk cId="1148838763" sldId="2147375613"/>
            <ac:spMk id="11" creationId="{8CC1343B-2E39-FEFF-8FF6-46822F18B432}"/>
          </ac:spMkLst>
        </pc:spChg>
        <pc:spChg chg="mod">
          <ac:chgData name="Reddy, G Joshita SBOBNG-PTIY/TCBC" userId="dbfa17d8-2413-4ad6-90f7-111708d7b58c" providerId="ADAL" clId="{563846B2-44DD-4B5F-BD89-228F251BAD59}" dt="2024-09-05T08:56:57.588" v="3822" actId="20577"/>
          <ac:spMkLst>
            <pc:docMk/>
            <pc:sldMk cId="1148838763" sldId="2147375613"/>
            <ac:spMk id="12" creationId="{5A873A1A-E63F-91AE-7D43-ED0F86870147}"/>
          </ac:spMkLst>
        </pc:spChg>
        <pc:picChg chg="del">
          <ac:chgData name="Reddy, G Joshita SBOBNG-PTIY/TCBC" userId="dbfa17d8-2413-4ad6-90f7-111708d7b58c" providerId="ADAL" clId="{563846B2-44DD-4B5F-BD89-228F251BAD59}" dt="2024-09-04T06:26:59.493" v="25" actId="478"/>
          <ac:picMkLst>
            <pc:docMk/>
            <pc:sldMk cId="1148838763" sldId="2147375613"/>
            <ac:picMk id="5" creationId="{7F36DEB4-DEF6-97EE-0A3A-C083F00F23AD}"/>
          </ac:picMkLst>
        </pc:picChg>
        <pc:picChg chg="add del mod">
          <ac:chgData name="Reddy, G Joshita SBOBNG-PTIY/TCBC" userId="dbfa17d8-2413-4ad6-90f7-111708d7b58c" providerId="ADAL" clId="{563846B2-44DD-4B5F-BD89-228F251BAD59}" dt="2024-09-05T08:55:58.031" v="3817" actId="478"/>
          <ac:picMkLst>
            <pc:docMk/>
            <pc:sldMk cId="1148838763" sldId="2147375613"/>
            <ac:picMk id="5" creationId="{F7B00858-1E2B-ECCF-4DE6-A11877BF8337}"/>
          </ac:picMkLst>
        </pc:picChg>
        <pc:picChg chg="add mod">
          <ac:chgData name="Reddy, G Joshita SBOBNG-PTIY/TCBC" userId="dbfa17d8-2413-4ad6-90f7-111708d7b58c" providerId="ADAL" clId="{563846B2-44DD-4B5F-BD89-228F251BAD59}" dt="2024-09-05T08:57:04.742" v="3824" actId="1076"/>
          <ac:picMkLst>
            <pc:docMk/>
            <pc:sldMk cId="1148838763" sldId="2147375613"/>
            <ac:picMk id="6" creationId="{9B83C2E4-C00E-64F3-9F5B-A7CA2F91D8D1}"/>
          </ac:picMkLst>
        </pc:picChg>
        <pc:picChg chg="add">
          <ac:chgData name="Reddy, G Joshita SBOBNG-PTIY/TCBC" userId="dbfa17d8-2413-4ad6-90f7-111708d7b58c" providerId="ADAL" clId="{563846B2-44DD-4B5F-BD89-228F251BAD59}" dt="2024-09-05T08:55:49.534" v="3813"/>
          <ac:picMkLst>
            <pc:docMk/>
            <pc:sldMk cId="1148838763" sldId="2147375613"/>
            <ac:picMk id="4098" creationId="{E328290D-3427-37AF-BE38-8596F72EA351}"/>
          </ac:picMkLst>
        </pc:picChg>
        <pc:picChg chg="add">
          <ac:chgData name="Reddy, G Joshita SBOBNG-PTIY/TCBC" userId="dbfa17d8-2413-4ad6-90f7-111708d7b58c" providerId="ADAL" clId="{563846B2-44DD-4B5F-BD89-228F251BAD59}" dt="2024-09-05T08:56:43.942" v="3818"/>
          <ac:picMkLst>
            <pc:docMk/>
            <pc:sldMk cId="1148838763" sldId="2147375613"/>
            <ac:picMk id="4100" creationId="{E6616A22-7BD9-C603-8936-E35F805CB693}"/>
          </ac:picMkLst>
        </pc:picChg>
      </pc:sldChg>
      <pc:sldChg chg="modSp mod">
        <pc:chgData name="Reddy, G Joshita SBOBNG-PTIY/TCBC" userId="dbfa17d8-2413-4ad6-90f7-111708d7b58c" providerId="ADAL" clId="{563846B2-44DD-4B5F-BD89-228F251BAD59}" dt="2024-09-05T08:52:55.122" v="3812" actId="20577"/>
        <pc:sldMkLst>
          <pc:docMk/>
          <pc:sldMk cId="3865850111" sldId="2147375614"/>
        </pc:sldMkLst>
        <pc:spChg chg="mod">
          <ac:chgData name="Reddy, G Joshita SBOBNG-PTIY/TCBC" userId="dbfa17d8-2413-4ad6-90f7-111708d7b58c" providerId="ADAL" clId="{563846B2-44DD-4B5F-BD89-228F251BAD59}" dt="2024-09-05T08:52:55.122" v="3812" actId="20577"/>
          <ac:spMkLst>
            <pc:docMk/>
            <pc:sldMk cId="3865850111" sldId="2147375614"/>
            <ac:spMk id="6" creationId="{AC2F88D2-81D4-FAD4-568E-A3F495B0641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3.png"/><Relationship Id="rId5" Type="http://schemas.openxmlformats.org/officeDocument/2006/relationships/hyperlink" Target="https://dev.azure.com/Anvitha" TargetMode="External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png"/><Relationship Id="rId5" Type="http://schemas.openxmlformats.org/officeDocument/2006/relationships/hyperlink" Target="https://github.com/JoshitaReddy/Foundational-Training" TargetMode="Externa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G Joshita Redd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e digitalization of the world necessitates the need for managing the humongous amount of data generated everyday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Understanding and being able to work with raw data and databases is an important skill to have, especially considering the considerable amount of digital footprint we leave everyday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8BC4140-E72C-47BD-B8DC-1ACFCE96E90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667"/>
          <a:stretch/>
        </p:blipFill>
        <p:spPr>
          <a:xfrm>
            <a:off x="6546312" y="1941742"/>
            <a:ext cx="5059680" cy="381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t was a bit hard to coordinate during Azure DevOps group activity  to demonstrate testing, but active communication helped m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>
                <a:hlinkClick r:id="rId5"/>
              </a:rPr>
              <a:t>https://dev.azure.com/Anvitha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55E2E0-A476-AEC3-9E9D-2C2388F20D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22720" y="2634193"/>
            <a:ext cx="5176094" cy="258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 faced error while deploying html page to GitHub Actions we created. It was resolved by going through all the performed steps &amp; modifying and redeploying the pag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>
                <a:hlinkClick r:id="rId5"/>
              </a:rPr>
              <a:t>GitHub - </a:t>
            </a:r>
            <a:r>
              <a:rPr lang="en-US" sz="2000" dirty="0" err="1">
                <a:hlinkClick r:id="rId5"/>
              </a:rPr>
              <a:t>JoshitaReddy</a:t>
            </a:r>
            <a:r>
              <a:rPr lang="en-US" sz="2000" dirty="0">
                <a:hlinkClick r:id="rId5"/>
              </a:rPr>
              <a:t>/Foundational-Training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2050" name="Picture 2" descr="Github Actions - Building Clearly Bounded Ci Cd Pipelines With Github ...">
            <a:extLst>
              <a:ext uri="{FF2B5EF4-FFF2-40B4-BE49-F238E27FC236}">
                <a16:creationId xmlns:a16="http://schemas.microsoft.com/office/drawing/2014/main" id="{008D9C66-5D4E-9EDF-BC0C-1EF679014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9383" y="2214855"/>
            <a:ext cx="5260423" cy="3180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riting SQL queries was slightly confusing, but it was easy to understand it as we progressed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90528C-2EFD-3DD8-D30E-A201FB5CC7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6777" y="2251955"/>
            <a:ext cx="5323029" cy="352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more about new concepts I have been introduced to and experimenting with them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lore more about them during weekends &amp; my free time.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lored some concepts on an abstract level but yet to delve deep into them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 hands-on sessions via individual and group activities on Azure DevOps, GitHub, creating a VM, writing SQL queries were quite fun.</a:t>
            </a:r>
          </a:p>
          <a:p>
            <a:r>
              <a:rPr lang="en-US" sz="2000" dirty="0"/>
              <a:t>Various case studied helped in development of better understanding of concept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83C2E4-C00E-64F3-9F5B-A7CA2F91D8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5720" y="2110265"/>
            <a:ext cx="3960865" cy="370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Learnt about testing, cloud, DBMS and worked with various tools used such as PostgreSQL, Azure DevOps, Azure Cloud(Creating Virtual Machine), GitHub etc. for better understanding of concepts.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It is important to understand technical concepts and terminologies along with having basic hands-on experience on the tools which are used.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Expand your horizons, don’t stay stuck in your comfort zone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1A1C6CE-63B9-8D2B-14E0-3195813725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0800" y="1791488"/>
            <a:ext cx="5349005" cy="4116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Testing</a:t>
            </a:r>
          </a:p>
          <a:p>
            <a:r>
              <a:rPr lang="en-US" sz="2000" dirty="0"/>
              <a:t>Like SDLC, Software Testing Lifecyle plays an integral role as even a small bug/defect can crash the whole system. We learnt about various types of testing as well.</a:t>
            </a:r>
          </a:p>
          <a:p>
            <a:r>
              <a:rPr lang="en-US" sz="2000" dirty="0"/>
              <a:t>In a safety critical sector such as energy sector, where even a small mistake can have a huge impact, testing is valuabl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E317E29-7BE7-7CFF-F85F-8E22794E2D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8471" y="2212936"/>
            <a:ext cx="5154035" cy="3436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GitHub</a:t>
            </a:r>
          </a:p>
          <a:p>
            <a:r>
              <a:rPr lang="en-US" sz="2000" dirty="0"/>
              <a:t>Learning about Git, version control software was very interesting. We learnt concepts such as commit, pull request, merge, reviewers etc.</a:t>
            </a:r>
          </a:p>
          <a:p>
            <a:r>
              <a:rPr lang="en-US" sz="2000" dirty="0"/>
              <a:t>Git &amp; GitHub are quite important in any technology supporting energy sector as they can be used for collaboration and managing version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D67C7B-ECB9-0D93-C7EF-D683965721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98364" y="2560320"/>
            <a:ext cx="4986126" cy="2803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Databases &amp; DBMS</a:t>
            </a:r>
          </a:p>
          <a:p>
            <a:r>
              <a:rPr lang="en-US" sz="2000" dirty="0"/>
              <a:t>We reviewed DBMS concepts and executed Postgres SQL commands as part of hand-on activity.  </a:t>
            </a:r>
          </a:p>
          <a:p>
            <a:r>
              <a:rPr lang="en-US" sz="2000" dirty="0"/>
              <a:t>Energy sector generates and deals huge amount of data, and it is quite important to manage it, hence, concepts like DBMS become quite importan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C074F7A-DCD9-9DD7-CB24-ED0BA8D64BB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384" r="16395"/>
          <a:stretch/>
        </p:blipFill>
        <p:spPr>
          <a:xfrm>
            <a:off x="6736080" y="1941742"/>
            <a:ext cx="4582160" cy="389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Understanding testing and its importance in a project for finding and fixing vulnerabilities helps promote a digitally safe environment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Knowing about testing helps us identify any bugs or defects we find and fix them directly ourselves or indirectly by reporting to concerned authorit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1BEB53-CABE-3734-7753-F7036B5CAA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3306" y="2132115"/>
            <a:ext cx="4964938" cy="3304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Version control software such as Git play an important role in any technical project in every sector, to manage new releases and fixing bug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t is important to be able to understand and work with GitHub for smooth operation and better collaboratio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050" name="Picture 2" descr="What is Git? | Tutorials Link">
            <a:extLst>
              <a:ext uri="{FF2B5EF4-FFF2-40B4-BE49-F238E27FC236}">
                <a16:creationId xmlns:a16="http://schemas.microsoft.com/office/drawing/2014/main" id="{A5F04EF6-2AC6-8947-7FEF-AE01FD24B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871" y="2132115"/>
            <a:ext cx="5132562" cy="3515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34</TotalTime>
  <Words>748</Words>
  <Application>Microsoft Office PowerPoint</Application>
  <PresentationFormat>Widescreen</PresentationFormat>
  <Paragraphs>9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Reddy, G Joshita SBOBNG-PTIY/TCBC</cp:lastModifiedBy>
  <cp:revision>503</cp:revision>
  <dcterms:created xsi:type="dcterms:W3CDTF">2022-01-18T12:35:56Z</dcterms:created>
  <dcterms:modified xsi:type="dcterms:W3CDTF">2024-09-06T08:3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